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4841" r:id="rId2"/>
    <p:sldId id="8496" r:id="rId3"/>
    <p:sldId id="8500" r:id="rId4"/>
    <p:sldId id="8502" r:id="rId5"/>
    <p:sldId id="8504" r:id="rId6"/>
    <p:sldId id="8506" r:id="rId7"/>
    <p:sldId id="8505" r:id="rId8"/>
    <p:sldId id="8498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58" d="100"/>
          <a:sy n="58" d="100"/>
        </p:scale>
        <p:origin x="988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5CDDFB-F46F-424D-80B4-F0DCA315B462}" type="datetimeFigureOut">
              <a:rPr lang="en-IN" smtClean="0"/>
              <a:t>02-04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4EAB60-0C22-447A-BE94-E3BBBD2B64D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028014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0DFA88-1A61-46E6-B086-CD77EA707F3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0304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0B43DD-7214-D957-E248-8AF0E6EA8C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C559562-F234-392A-2EA8-9B4EB6B26C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5FF49F-15E3-1821-767E-1235EF1631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97368-9517-4503-9A2D-81C10560C46D}" type="datetimeFigureOut">
              <a:rPr lang="en-IN" smtClean="0"/>
              <a:t>02-04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EC3CA8-EEFD-B535-8796-7E3B594A27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B5FA8F-B98F-F5F9-93D6-E7F6C4EE49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04A2AA-2D05-4D47-AB6C-4470086E3DC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542139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DAC552-CBB3-4E48-AB81-FC52166CF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7A9E24-A8D9-40B5-875B-2E711410653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732870-F083-3E0D-685A-E320DC269F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97368-9517-4503-9A2D-81C10560C46D}" type="datetimeFigureOut">
              <a:rPr lang="en-IN" smtClean="0"/>
              <a:t>02-04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029A48-5621-D250-69C3-E2E16CA3F5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68F684-141E-2B8C-7CC8-AE2DBB63E1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04A2AA-2D05-4D47-AB6C-4470086E3DC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456343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38995C9-5970-DF38-15A9-493CC382272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6FB34D5-99B5-BE1A-6861-BF10A5D6066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5426A8-6CC5-8C2D-1FF8-91E5B9D327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97368-9517-4503-9A2D-81C10560C46D}" type="datetimeFigureOut">
              <a:rPr lang="en-IN" smtClean="0"/>
              <a:t>02-04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26DB46-0540-6D35-15D0-4B68E50F5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7576B8-F128-2879-8D93-2C2299A5D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04A2AA-2D05-4D47-AB6C-4470086E3DC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365146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- Light">
    <p:bg>
      <p:bgPr>
        <a:solidFill>
          <a:schemeClr val="bg1">
            <a:alpha val="9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BFBFCF6A-71E0-4CB2-A2CD-9D1D05D4506B}"/>
              </a:ext>
            </a:extLst>
          </p:cNvPr>
          <p:cNvSpPr/>
          <p:nvPr userDrawn="1"/>
        </p:nvSpPr>
        <p:spPr>
          <a:xfrm flipV="1">
            <a:off x="0" y="0"/>
            <a:ext cx="3505200" cy="6858000"/>
          </a:xfrm>
          <a:custGeom>
            <a:avLst/>
            <a:gdLst>
              <a:gd name="connsiteX0" fmla="*/ 0 w 3505200"/>
              <a:gd name="connsiteY0" fmla="*/ 0 h 6858000"/>
              <a:gd name="connsiteX1" fmla="*/ 1978706 w 3505200"/>
              <a:gd name="connsiteY1" fmla="*/ 0 h 6858000"/>
              <a:gd name="connsiteX2" fmla="*/ 3505200 w 3505200"/>
              <a:gd name="connsiteY2" fmla="*/ 6858000 h 6858000"/>
              <a:gd name="connsiteX3" fmla="*/ 0 w 3505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05200" h="6858000">
                <a:moveTo>
                  <a:pt x="0" y="0"/>
                </a:moveTo>
                <a:lnTo>
                  <a:pt x="1978706" y="0"/>
                </a:lnTo>
                <a:lnTo>
                  <a:pt x="35052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64000">
                <a:srgbClr val="006FC6"/>
              </a:gs>
              <a:gs pos="96000">
                <a:schemeClr val="accent4">
                  <a:alpha val="91000"/>
                </a:schemeClr>
              </a:gs>
              <a:gs pos="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0B3A690-B3A5-4178-89C6-46FF4B6146CB}"/>
              </a:ext>
            </a:extLst>
          </p:cNvPr>
          <p:cNvGrpSpPr/>
          <p:nvPr userDrawn="1"/>
        </p:nvGrpSpPr>
        <p:grpSpPr>
          <a:xfrm>
            <a:off x="1568842" y="1529830"/>
            <a:ext cx="6750978" cy="3798340"/>
            <a:chOff x="1568842" y="1287695"/>
            <a:chExt cx="6750978" cy="379834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7E990F-7E98-4AA2-85D4-1DB1EF6784C6}"/>
                </a:ext>
              </a:extLst>
            </p:cNvPr>
            <p:cNvSpPr/>
            <p:nvPr userDrawn="1"/>
          </p:nvSpPr>
          <p:spPr>
            <a:xfrm>
              <a:off x="1568842" y="1287695"/>
              <a:ext cx="6750978" cy="3798340"/>
            </a:xfrm>
            <a:prstGeom prst="rect">
              <a:avLst/>
            </a:prstGeom>
            <a:solidFill>
              <a:schemeClr val="bg1"/>
            </a:solidFill>
            <a:ln w="25400">
              <a:noFill/>
              <a:headEnd type="triangle"/>
              <a:tailEnd type="none"/>
            </a:ln>
            <a:effectLst>
              <a:outerShdw blurRad="203200" dist="50800" dir="2400000" sx="102000" sy="102000" algn="tl" rotWithShape="0">
                <a:schemeClr val="bg1">
                  <a:lumMod val="50000"/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lvl="0" algn="ctr"/>
              <a:endParaRPr lang="en-US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9B3E32B-D281-4874-9BA9-6386028CEDDF}"/>
                </a:ext>
              </a:extLst>
            </p:cNvPr>
            <p:cNvSpPr/>
            <p:nvPr userDrawn="1"/>
          </p:nvSpPr>
          <p:spPr>
            <a:xfrm>
              <a:off x="1732669" y="1433013"/>
              <a:ext cx="6423324" cy="3507704"/>
            </a:xfrm>
            <a:prstGeom prst="rect">
              <a:avLst/>
            </a:prstGeom>
            <a:noFill/>
            <a:ln w="3175">
              <a:solidFill>
                <a:schemeClr val="accent2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79970367-21EB-4524-87D0-64F48DE91F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86357" y="2808501"/>
            <a:ext cx="5670632" cy="1219286"/>
          </a:xfrm>
        </p:spPr>
        <p:txBody>
          <a:bodyPr anchor="t" anchorCtr="0"/>
          <a:lstStyle>
            <a:lvl1pPr>
              <a:defRPr sz="4400" spc="-100" baseline="0">
                <a:solidFill>
                  <a:srgbClr val="252F38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8FF8EBD2-C35F-47C1-BC90-1B66384203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86357" y="2211115"/>
            <a:ext cx="4834028" cy="397700"/>
          </a:xfrm>
          <a:noFill/>
        </p:spPr>
        <p:txBody>
          <a:bodyPr anchor="b">
            <a:noAutofit/>
          </a:bodyPr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lang="en-US" sz="2000" kern="1200" spc="0" baseline="0" dirty="0">
                <a:solidFill>
                  <a:srgbClr val="92979B"/>
                </a:solidFill>
                <a:latin typeface="+mj-lt"/>
                <a:ea typeface="+mn-ea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IN" dirty="0"/>
              <a:t>TEXT</a:t>
            </a:r>
            <a:endParaRPr lang="en-US" dirty="0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3B47C9E8-3F27-4DFA-B981-F615553EBA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86357" y="4173105"/>
            <a:ext cx="4834028" cy="397700"/>
          </a:xfrm>
          <a:noFill/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800" kern="1200" spc="0" baseline="0" dirty="0">
                <a:solidFill>
                  <a:srgbClr val="7F9FD0"/>
                </a:solidFill>
                <a:latin typeface="+mn-lt"/>
                <a:ea typeface="+mn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</a:pPr>
            <a:r>
              <a:rPr lang="en-IN" dirty="0"/>
              <a:t>SUBTITLE</a:t>
            </a:r>
            <a:endParaRPr lang="en-US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D03C20A-8BBF-4953-9E12-0C9789B95946}"/>
              </a:ext>
            </a:extLst>
          </p:cNvPr>
          <p:cNvGrpSpPr/>
          <p:nvPr userDrawn="1"/>
        </p:nvGrpSpPr>
        <p:grpSpPr>
          <a:xfrm>
            <a:off x="9699222" y="5716003"/>
            <a:ext cx="1465674" cy="460138"/>
            <a:chOff x="9699222" y="5716003"/>
            <a:chExt cx="1465674" cy="460138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2E6D9B1-70BC-488B-AB63-12D552B7F87C}"/>
                </a:ext>
              </a:extLst>
            </p:cNvPr>
            <p:cNvSpPr/>
            <p:nvPr/>
          </p:nvSpPr>
          <p:spPr>
            <a:xfrm>
              <a:off x="10010229" y="5716003"/>
              <a:ext cx="80972" cy="80972"/>
            </a:xfrm>
            <a:custGeom>
              <a:avLst/>
              <a:gdLst>
                <a:gd name="connsiteX0" fmla="*/ 163259 w 323850"/>
                <a:gd name="connsiteY0" fmla="*/ 7144 h 323850"/>
                <a:gd name="connsiteX1" fmla="*/ 7144 w 323850"/>
                <a:gd name="connsiteY1" fmla="*/ 163544 h 323850"/>
                <a:gd name="connsiteX2" fmla="*/ 163259 w 323850"/>
                <a:gd name="connsiteY2" fmla="*/ 319564 h 323850"/>
                <a:gd name="connsiteX3" fmla="*/ 319373 w 323850"/>
                <a:gd name="connsiteY3" fmla="*/ 163544 h 323850"/>
                <a:gd name="connsiteX4" fmla="*/ 163259 w 323850"/>
                <a:gd name="connsiteY4" fmla="*/ 7144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323850">
                  <a:moveTo>
                    <a:pt x="163259" y="7144"/>
                  </a:moveTo>
                  <a:cubicBezTo>
                    <a:pt x="76962" y="7144"/>
                    <a:pt x="7144" y="77153"/>
                    <a:pt x="7144" y="163544"/>
                  </a:cubicBezTo>
                  <a:cubicBezTo>
                    <a:pt x="7144" y="249650"/>
                    <a:pt x="76867" y="319564"/>
                    <a:pt x="163259" y="319564"/>
                  </a:cubicBezTo>
                  <a:cubicBezTo>
                    <a:pt x="249364" y="319564"/>
                    <a:pt x="319373" y="249746"/>
                    <a:pt x="319373" y="163544"/>
                  </a:cubicBezTo>
                  <a:cubicBezTo>
                    <a:pt x="319373" y="77153"/>
                    <a:pt x="249364" y="7144"/>
                    <a:pt x="163259" y="7144"/>
                  </a:cubicBez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3ECA5B2-774A-4B25-9D8E-2C4A71A23CC6}"/>
                </a:ext>
              </a:extLst>
            </p:cNvPr>
            <p:cNvSpPr/>
            <p:nvPr/>
          </p:nvSpPr>
          <p:spPr>
            <a:xfrm>
              <a:off x="9699222" y="5766920"/>
              <a:ext cx="319127" cy="340560"/>
            </a:xfrm>
            <a:custGeom>
              <a:avLst/>
              <a:gdLst>
                <a:gd name="connsiteX0" fmla="*/ 1064804 w 1276350"/>
                <a:gd name="connsiteY0" fmla="*/ 460439 h 1362075"/>
                <a:gd name="connsiteX1" fmla="*/ 1259781 w 1276350"/>
                <a:gd name="connsiteY1" fmla="*/ 203741 h 1362075"/>
                <a:gd name="connsiteX2" fmla="*/ 1261876 w 1276350"/>
                <a:gd name="connsiteY2" fmla="*/ 158687 h 1362075"/>
                <a:gd name="connsiteX3" fmla="*/ 1179009 w 1276350"/>
                <a:gd name="connsiteY3" fmla="*/ 25814 h 1362075"/>
                <a:gd name="connsiteX4" fmla="*/ 1145004 w 1276350"/>
                <a:gd name="connsiteY4" fmla="*/ 7145 h 1362075"/>
                <a:gd name="connsiteX5" fmla="*/ 787531 w 1276350"/>
                <a:gd name="connsiteY5" fmla="*/ 9621 h 1362075"/>
                <a:gd name="connsiteX6" fmla="*/ 787531 w 1276350"/>
                <a:gd name="connsiteY6" fmla="*/ 9621 h 1362075"/>
                <a:gd name="connsiteX7" fmla="*/ 591507 w 1276350"/>
                <a:gd name="connsiteY7" fmla="*/ 9431 h 1362075"/>
                <a:gd name="connsiteX8" fmla="*/ 581315 w 1276350"/>
                <a:gd name="connsiteY8" fmla="*/ 38387 h 1362075"/>
                <a:gd name="connsiteX9" fmla="*/ 636274 w 1276350"/>
                <a:gd name="connsiteY9" fmla="*/ 82678 h 1362075"/>
                <a:gd name="connsiteX10" fmla="*/ 662944 w 1276350"/>
                <a:gd name="connsiteY10" fmla="*/ 94965 h 1362075"/>
                <a:gd name="connsiteX11" fmla="*/ 1003368 w 1276350"/>
                <a:gd name="connsiteY11" fmla="*/ 159068 h 1362075"/>
                <a:gd name="connsiteX12" fmla="*/ 582172 w 1276350"/>
                <a:gd name="connsiteY12" fmla="*/ 611601 h 1362075"/>
                <a:gd name="connsiteX13" fmla="*/ 27817 w 1276350"/>
                <a:gd name="connsiteY13" fmla="*/ 690373 h 1362075"/>
                <a:gd name="connsiteX14" fmla="*/ 13625 w 1276350"/>
                <a:gd name="connsiteY14" fmla="*/ 730473 h 1362075"/>
                <a:gd name="connsiteX15" fmla="*/ 67727 w 1276350"/>
                <a:gd name="connsiteY15" fmla="*/ 788576 h 1362075"/>
                <a:gd name="connsiteX16" fmla="*/ 109256 w 1276350"/>
                <a:gd name="connsiteY16" fmla="*/ 806197 h 1362075"/>
                <a:gd name="connsiteX17" fmla="*/ 644370 w 1276350"/>
                <a:gd name="connsiteY17" fmla="*/ 797434 h 1362075"/>
                <a:gd name="connsiteX18" fmla="*/ 700473 w 1276350"/>
                <a:gd name="connsiteY18" fmla="*/ 781146 h 1362075"/>
                <a:gd name="connsiteX19" fmla="*/ 828679 w 1276350"/>
                <a:gd name="connsiteY19" fmla="*/ 703041 h 1362075"/>
                <a:gd name="connsiteX20" fmla="*/ 1099284 w 1276350"/>
                <a:gd name="connsiteY20" fmla="*/ 917830 h 1362075"/>
                <a:gd name="connsiteX21" fmla="*/ 1118715 w 1276350"/>
                <a:gd name="connsiteY21" fmla="*/ 952025 h 1362075"/>
                <a:gd name="connsiteX22" fmla="*/ 1170246 w 1276350"/>
                <a:gd name="connsiteY22" fmla="*/ 1331310 h 1362075"/>
                <a:gd name="connsiteX23" fmla="*/ 1205964 w 1276350"/>
                <a:gd name="connsiteY23" fmla="*/ 1362552 h 1362075"/>
                <a:gd name="connsiteX24" fmla="*/ 1233492 w 1276350"/>
                <a:gd name="connsiteY24" fmla="*/ 1362552 h 1362075"/>
                <a:gd name="connsiteX25" fmla="*/ 1269591 w 1276350"/>
                <a:gd name="connsiteY25" fmla="*/ 1326643 h 1362075"/>
                <a:gd name="connsiteX26" fmla="*/ 1271211 w 1276350"/>
                <a:gd name="connsiteY26" fmla="*/ 905733 h 1362075"/>
                <a:gd name="connsiteX27" fmla="*/ 1251399 w 1276350"/>
                <a:gd name="connsiteY27" fmla="*/ 845440 h 1362075"/>
                <a:gd name="connsiteX28" fmla="*/ 1015274 w 1276350"/>
                <a:gd name="connsiteY28" fmla="*/ 527210 h 1362075"/>
                <a:gd name="connsiteX29" fmla="*/ 1064804 w 1276350"/>
                <a:gd name="connsiteY29" fmla="*/ 460439 h 1362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276350" h="1362075">
                  <a:moveTo>
                    <a:pt x="1064804" y="460439"/>
                  </a:moveTo>
                  <a:lnTo>
                    <a:pt x="1259781" y="203741"/>
                  </a:lnTo>
                  <a:cubicBezTo>
                    <a:pt x="1269782" y="190596"/>
                    <a:pt x="1270544" y="172689"/>
                    <a:pt x="1261876" y="158687"/>
                  </a:cubicBezTo>
                  <a:lnTo>
                    <a:pt x="1179009" y="25814"/>
                  </a:lnTo>
                  <a:cubicBezTo>
                    <a:pt x="1171674" y="14098"/>
                    <a:pt x="1158816" y="7049"/>
                    <a:pt x="1145004" y="7145"/>
                  </a:cubicBezTo>
                  <a:lnTo>
                    <a:pt x="787531" y="9621"/>
                  </a:lnTo>
                  <a:lnTo>
                    <a:pt x="787531" y="9621"/>
                  </a:lnTo>
                  <a:lnTo>
                    <a:pt x="591507" y="9431"/>
                  </a:lnTo>
                  <a:cubicBezTo>
                    <a:pt x="576171" y="9431"/>
                    <a:pt x="569313" y="28671"/>
                    <a:pt x="581315" y="38387"/>
                  </a:cubicBezTo>
                  <a:lnTo>
                    <a:pt x="636274" y="82678"/>
                  </a:lnTo>
                  <a:cubicBezTo>
                    <a:pt x="643989" y="88869"/>
                    <a:pt x="653133" y="93155"/>
                    <a:pt x="662944" y="94965"/>
                  </a:cubicBezTo>
                  <a:lnTo>
                    <a:pt x="1003368" y="159068"/>
                  </a:lnTo>
                  <a:lnTo>
                    <a:pt x="582172" y="611601"/>
                  </a:lnTo>
                  <a:lnTo>
                    <a:pt x="27817" y="690373"/>
                  </a:lnTo>
                  <a:cubicBezTo>
                    <a:pt x="8576" y="693135"/>
                    <a:pt x="385" y="716281"/>
                    <a:pt x="13625" y="730473"/>
                  </a:cubicBezTo>
                  <a:lnTo>
                    <a:pt x="67727" y="788576"/>
                  </a:lnTo>
                  <a:cubicBezTo>
                    <a:pt x="78395" y="800101"/>
                    <a:pt x="93540" y="806483"/>
                    <a:pt x="109256" y="806197"/>
                  </a:cubicBezTo>
                  <a:lnTo>
                    <a:pt x="644370" y="797434"/>
                  </a:lnTo>
                  <a:cubicBezTo>
                    <a:pt x="664182" y="797148"/>
                    <a:pt x="683518" y="791529"/>
                    <a:pt x="700473" y="781146"/>
                  </a:cubicBezTo>
                  <a:lnTo>
                    <a:pt x="828679" y="703041"/>
                  </a:lnTo>
                  <a:lnTo>
                    <a:pt x="1099284" y="917830"/>
                  </a:lnTo>
                  <a:cubicBezTo>
                    <a:pt x="1109952" y="926307"/>
                    <a:pt x="1116906" y="938499"/>
                    <a:pt x="1118715" y="952025"/>
                  </a:cubicBezTo>
                  <a:lnTo>
                    <a:pt x="1170246" y="1331310"/>
                  </a:lnTo>
                  <a:cubicBezTo>
                    <a:pt x="1172627" y="1349217"/>
                    <a:pt x="1187962" y="1362552"/>
                    <a:pt x="1205964" y="1362552"/>
                  </a:cubicBezTo>
                  <a:lnTo>
                    <a:pt x="1233492" y="1362552"/>
                  </a:lnTo>
                  <a:cubicBezTo>
                    <a:pt x="1253399" y="1362552"/>
                    <a:pt x="1269496" y="1346455"/>
                    <a:pt x="1269591" y="1326643"/>
                  </a:cubicBezTo>
                  <a:lnTo>
                    <a:pt x="1271211" y="905733"/>
                  </a:lnTo>
                  <a:cubicBezTo>
                    <a:pt x="1271306" y="884016"/>
                    <a:pt x="1264353" y="862871"/>
                    <a:pt x="1251399" y="845440"/>
                  </a:cubicBezTo>
                  <a:lnTo>
                    <a:pt x="1015274" y="527210"/>
                  </a:lnTo>
                  <a:lnTo>
                    <a:pt x="1064804" y="460439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8BBFEBF-DA14-4213-B08A-FFBD9C588A80}"/>
                </a:ext>
              </a:extLst>
            </p:cNvPr>
            <p:cNvSpPr/>
            <p:nvPr/>
          </p:nvSpPr>
          <p:spPr>
            <a:xfrm>
              <a:off x="10167744" y="5779614"/>
              <a:ext cx="192905" cy="238154"/>
            </a:xfrm>
            <a:custGeom>
              <a:avLst/>
              <a:gdLst>
                <a:gd name="connsiteX0" fmla="*/ 538163 w 771525"/>
                <a:gd name="connsiteY0" fmla="*/ 946499 h 952500"/>
                <a:gd name="connsiteX1" fmla="*/ 353663 w 771525"/>
                <a:gd name="connsiteY1" fmla="*/ 612648 h 952500"/>
                <a:gd name="connsiteX2" fmla="*/ 207169 w 771525"/>
                <a:gd name="connsiteY2" fmla="*/ 612648 h 952500"/>
                <a:gd name="connsiteX3" fmla="*/ 207169 w 771525"/>
                <a:gd name="connsiteY3" fmla="*/ 946404 h 952500"/>
                <a:gd name="connsiteX4" fmla="*/ 7144 w 771525"/>
                <a:gd name="connsiteY4" fmla="*/ 946404 h 952500"/>
                <a:gd name="connsiteX5" fmla="*/ 7144 w 771525"/>
                <a:gd name="connsiteY5" fmla="*/ 7144 h 952500"/>
                <a:gd name="connsiteX6" fmla="*/ 446532 w 771525"/>
                <a:gd name="connsiteY6" fmla="*/ 7144 h 952500"/>
                <a:gd name="connsiteX7" fmla="*/ 763429 w 771525"/>
                <a:gd name="connsiteY7" fmla="*/ 309944 h 952500"/>
                <a:gd name="connsiteX8" fmla="*/ 556451 w 771525"/>
                <a:gd name="connsiteY8" fmla="*/ 588836 h 952500"/>
                <a:gd name="connsiteX9" fmla="*/ 769144 w 771525"/>
                <a:gd name="connsiteY9" fmla="*/ 946595 h 952500"/>
                <a:gd name="connsiteX10" fmla="*/ 538163 w 771525"/>
                <a:gd name="connsiteY10" fmla="*/ 946595 h 952500"/>
                <a:gd name="connsiteX11" fmla="*/ 557879 w 771525"/>
                <a:gd name="connsiteY11" fmla="*/ 308515 h 952500"/>
                <a:gd name="connsiteX12" fmla="*/ 418433 w 771525"/>
                <a:gd name="connsiteY12" fmla="*/ 183166 h 952500"/>
                <a:gd name="connsiteX13" fmla="*/ 207169 w 771525"/>
                <a:gd name="connsiteY13" fmla="*/ 183166 h 952500"/>
                <a:gd name="connsiteX14" fmla="*/ 207169 w 771525"/>
                <a:gd name="connsiteY14" fmla="*/ 436626 h 952500"/>
                <a:gd name="connsiteX15" fmla="*/ 418433 w 771525"/>
                <a:gd name="connsiteY15" fmla="*/ 436626 h 952500"/>
                <a:gd name="connsiteX16" fmla="*/ 557879 w 771525"/>
                <a:gd name="connsiteY16" fmla="*/ 308515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71525" h="952500">
                  <a:moveTo>
                    <a:pt x="538163" y="946499"/>
                  </a:moveTo>
                  <a:lnTo>
                    <a:pt x="353663" y="612648"/>
                  </a:lnTo>
                  <a:lnTo>
                    <a:pt x="207169" y="612648"/>
                  </a:lnTo>
                  <a:lnTo>
                    <a:pt x="207169" y="946404"/>
                  </a:lnTo>
                  <a:lnTo>
                    <a:pt x="7144" y="946404"/>
                  </a:lnTo>
                  <a:lnTo>
                    <a:pt x="7144" y="7144"/>
                  </a:lnTo>
                  <a:lnTo>
                    <a:pt x="446532" y="7144"/>
                  </a:lnTo>
                  <a:cubicBezTo>
                    <a:pt x="642271" y="7144"/>
                    <a:pt x="763429" y="135255"/>
                    <a:pt x="763429" y="309944"/>
                  </a:cubicBezTo>
                  <a:cubicBezTo>
                    <a:pt x="763429" y="474726"/>
                    <a:pt x="657797" y="564833"/>
                    <a:pt x="556451" y="588836"/>
                  </a:cubicBezTo>
                  <a:lnTo>
                    <a:pt x="769144" y="946595"/>
                  </a:lnTo>
                  <a:lnTo>
                    <a:pt x="538163" y="946595"/>
                  </a:lnTo>
                  <a:close/>
                  <a:moveTo>
                    <a:pt x="557879" y="308515"/>
                  </a:moveTo>
                  <a:cubicBezTo>
                    <a:pt x="557879" y="231077"/>
                    <a:pt x="497300" y="183166"/>
                    <a:pt x="418433" y="183166"/>
                  </a:cubicBezTo>
                  <a:lnTo>
                    <a:pt x="207169" y="183166"/>
                  </a:lnTo>
                  <a:lnTo>
                    <a:pt x="207169" y="436626"/>
                  </a:lnTo>
                  <a:lnTo>
                    <a:pt x="418433" y="436626"/>
                  </a:lnTo>
                  <a:cubicBezTo>
                    <a:pt x="497300" y="436626"/>
                    <a:pt x="557879" y="388715"/>
                    <a:pt x="557879" y="308515"/>
                  </a:cubicBez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1B44E1E-A940-4B1B-ACF2-206AC1F4ABEE}"/>
                </a:ext>
              </a:extLst>
            </p:cNvPr>
            <p:cNvSpPr/>
            <p:nvPr/>
          </p:nvSpPr>
          <p:spPr>
            <a:xfrm>
              <a:off x="10394181" y="5779614"/>
              <a:ext cx="169090" cy="238154"/>
            </a:xfrm>
            <a:custGeom>
              <a:avLst/>
              <a:gdLst>
                <a:gd name="connsiteX0" fmla="*/ 7144 w 676275"/>
                <a:gd name="connsiteY0" fmla="*/ 946499 h 952500"/>
                <a:gd name="connsiteX1" fmla="*/ 7144 w 676275"/>
                <a:gd name="connsiteY1" fmla="*/ 7144 h 952500"/>
                <a:gd name="connsiteX2" fmla="*/ 671894 w 676275"/>
                <a:gd name="connsiteY2" fmla="*/ 7144 h 952500"/>
                <a:gd name="connsiteX3" fmla="*/ 671894 w 676275"/>
                <a:gd name="connsiteY3" fmla="*/ 183166 h 952500"/>
                <a:gd name="connsiteX4" fmla="*/ 207169 w 676275"/>
                <a:gd name="connsiteY4" fmla="*/ 183166 h 952500"/>
                <a:gd name="connsiteX5" fmla="*/ 207169 w 676275"/>
                <a:gd name="connsiteY5" fmla="*/ 380333 h 952500"/>
                <a:gd name="connsiteX6" fmla="*/ 662083 w 676275"/>
                <a:gd name="connsiteY6" fmla="*/ 380333 h 952500"/>
                <a:gd name="connsiteX7" fmla="*/ 662083 w 676275"/>
                <a:gd name="connsiteY7" fmla="*/ 556355 h 952500"/>
                <a:gd name="connsiteX8" fmla="*/ 207169 w 676275"/>
                <a:gd name="connsiteY8" fmla="*/ 556355 h 952500"/>
                <a:gd name="connsiteX9" fmla="*/ 207169 w 676275"/>
                <a:gd name="connsiteY9" fmla="*/ 770382 h 952500"/>
                <a:gd name="connsiteX10" fmla="*/ 671894 w 676275"/>
                <a:gd name="connsiteY10" fmla="*/ 770382 h 952500"/>
                <a:gd name="connsiteX11" fmla="*/ 671894 w 676275"/>
                <a:gd name="connsiteY11" fmla="*/ 946404 h 952500"/>
                <a:gd name="connsiteX12" fmla="*/ 7144 w 676275"/>
                <a:gd name="connsiteY12" fmla="*/ 946404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952500">
                  <a:moveTo>
                    <a:pt x="7144" y="946499"/>
                  </a:moveTo>
                  <a:lnTo>
                    <a:pt x="7144" y="7144"/>
                  </a:lnTo>
                  <a:lnTo>
                    <a:pt x="671894" y="7144"/>
                  </a:lnTo>
                  <a:lnTo>
                    <a:pt x="671894" y="183166"/>
                  </a:lnTo>
                  <a:lnTo>
                    <a:pt x="207169" y="183166"/>
                  </a:lnTo>
                  <a:lnTo>
                    <a:pt x="207169" y="380333"/>
                  </a:lnTo>
                  <a:lnTo>
                    <a:pt x="662083" y="380333"/>
                  </a:lnTo>
                  <a:lnTo>
                    <a:pt x="662083" y="556355"/>
                  </a:lnTo>
                  <a:lnTo>
                    <a:pt x="207169" y="556355"/>
                  </a:lnTo>
                  <a:lnTo>
                    <a:pt x="207169" y="770382"/>
                  </a:lnTo>
                  <a:lnTo>
                    <a:pt x="671894" y="770382"/>
                  </a:lnTo>
                  <a:lnTo>
                    <a:pt x="671894" y="946404"/>
                  </a:lnTo>
                  <a:lnTo>
                    <a:pt x="7144" y="946404"/>
                  </a:ln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0A6F8DD-8AEF-465D-BC8B-C79FE002A874}"/>
                </a:ext>
              </a:extLst>
            </p:cNvPr>
            <p:cNvSpPr/>
            <p:nvPr/>
          </p:nvSpPr>
          <p:spPr>
            <a:xfrm>
              <a:off x="10599446" y="5779614"/>
              <a:ext cx="190523" cy="238154"/>
            </a:xfrm>
            <a:custGeom>
              <a:avLst/>
              <a:gdLst>
                <a:gd name="connsiteX0" fmla="*/ 7144 w 762000"/>
                <a:gd name="connsiteY0" fmla="*/ 946499 h 952500"/>
                <a:gd name="connsiteX1" fmla="*/ 7144 w 762000"/>
                <a:gd name="connsiteY1" fmla="*/ 7144 h 952500"/>
                <a:gd name="connsiteX2" fmla="*/ 446532 w 762000"/>
                <a:gd name="connsiteY2" fmla="*/ 7144 h 952500"/>
                <a:gd name="connsiteX3" fmla="*/ 762000 w 762000"/>
                <a:gd name="connsiteY3" fmla="*/ 309944 h 952500"/>
                <a:gd name="connsiteX4" fmla="*/ 446532 w 762000"/>
                <a:gd name="connsiteY4" fmla="*/ 611315 h 952500"/>
                <a:gd name="connsiteX5" fmla="*/ 207074 w 762000"/>
                <a:gd name="connsiteY5" fmla="*/ 611315 h 952500"/>
                <a:gd name="connsiteX6" fmla="*/ 207074 w 762000"/>
                <a:gd name="connsiteY6" fmla="*/ 946499 h 952500"/>
                <a:gd name="connsiteX7" fmla="*/ 7144 w 762000"/>
                <a:gd name="connsiteY7" fmla="*/ 946499 h 952500"/>
                <a:gd name="connsiteX8" fmla="*/ 557784 w 762000"/>
                <a:gd name="connsiteY8" fmla="*/ 309848 h 952500"/>
                <a:gd name="connsiteX9" fmla="*/ 418338 w 762000"/>
                <a:gd name="connsiteY9" fmla="*/ 183071 h 952500"/>
                <a:gd name="connsiteX10" fmla="*/ 207074 w 762000"/>
                <a:gd name="connsiteY10" fmla="*/ 183071 h 952500"/>
                <a:gd name="connsiteX11" fmla="*/ 207074 w 762000"/>
                <a:gd name="connsiteY11" fmla="*/ 435197 h 952500"/>
                <a:gd name="connsiteX12" fmla="*/ 418338 w 762000"/>
                <a:gd name="connsiteY12" fmla="*/ 435197 h 952500"/>
                <a:gd name="connsiteX13" fmla="*/ 557784 w 762000"/>
                <a:gd name="connsiteY13" fmla="*/ 309848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62000" h="952500">
                  <a:moveTo>
                    <a:pt x="7144" y="946499"/>
                  </a:moveTo>
                  <a:lnTo>
                    <a:pt x="7144" y="7144"/>
                  </a:lnTo>
                  <a:lnTo>
                    <a:pt x="446532" y="7144"/>
                  </a:lnTo>
                  <a:cubicBezTo>
                    <a:pt x="650748" y="7144"/>
                    <a:pt x="762000" y="145161"/>
                    <a:pt x="762000" y="309944"/>
                  </a:cubicBezTo>
                  <a:cubicBezTo>
                    <a:pt x="762000" y="473297"/>
                    <a:pt x="649319" y="611315"/>
                    <a:pt x="446532" y="611315"/>
                  </a:cubicBezTo>
                  <a:lnTo>
                    <a:pt x="207074" y="611315"/>
                  </a:lnTo>
                  <a:lnTo>
                    <a:pt x="207074" y="946499"/>
                  </a:lnTo>
                  <a:lnTo>
                    <a:pt x="7144" y="946499"/>
                  </a:lnTo>
                  <a:close/>
                  <a:moveTo>
                    <a:pt x="557784" y="309848"/>
                  </a:moveTo>
                  <a:cubicBezTo>
                    <a:pt x="557784" y="230981"/>
                    <a:pt x="497205" y="183071"/>
                    <a:pt x="418338" y="183071"/>
                  </a:cubicBezTo>
                  <a:lnTo>
                    <a:pt x="207074" y="183071"/>
                  </a:lnTo>
                  <a:lnTo>
                    <a:pt x="207074" y="435197"/>
                  </a:lnTo>
                  <a:lnTo>
                    <a:pt x="418338" y="435197"/>
                  </a:lnTo>
                  <a:cubicBezTo>
                    <a:pt x="497300" y="435197"/>
                    <a:pt x="557784" y="387382"/>
                    <a:pt x="557784" y="309848"/>
                  </a:cubicBez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F3A4F70-6063-4F20-8EA2-D72D144A8788}"/>
                </a:ext>
              </a:extLst>
            </p:cNvPr>
            <p:cNvSpPr/>
            <p:nvPr/>
          </p:nvSpPr>
          <p:spPr>
            <a:xfrm>
              <a:off x="10817405" y="5779614"/>
              <a:ext cx="152419" cy="238154"/>
            </a:xfrm>
            <a:custGeom>
              <a:avLst/>
              <a:gdLst>
                <a:gd name="connsiteX0" fmla="*/ 7144 w 609600"/>
                <a:gd name="connsiteY0" fmla="*/ 946499 h 952500"/>
                <a:gd name="connsiteX1" fmla="*/ 7144 w 609600"/>
                <a:gd name="connsiteY1" fmla="*/ 7144 h 952500"/>
                <a:gd name="connsiteX2" fmla="*/ 208502 w 609600"/>
                <a:gd name="connsiteY2" fmla="*/ 7144 h 952500"/>
                <a:gd name="connsiteX3" fmla="*/ 208502 w 609600"/>
                <a:gd name="connsiteY3" fmla="*/ 770477 h 952500"/>
                <a:gd name="connsiteX4" fmla="*/ 605694 w 609600"/>
                <a:gd name="connsiteY4" fmla="*/ 770477 h 952500"/>
                <a:gd name="connsiteX5" fmla="*/ 605694 w 609600"/>
                <a:gd name="connsiteY5" fmla="*/ 946499 h 952500"/>
                <a:gd name="connsiteX6" fmla="*/ 7144 w 609600"/>
                <a:gd name="connsiteY6" fmla="*/ 946499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9600" h="952500">
                  <a:moveTo>
                    <a:pt x="7144" y="946499"/>
                  </a:moveTo>
                  <a:lnTo>
                    <a:pt x="7144" y="7144"/>
                  </a:lnTo>
                  <a:lnTo>
                    <a:pt x="208502" y="7144"/>
                  </a:lnTo>
                  <a:lnTo>
                    <a:pt x="208502" y="770477"/>
                  </a:lnTo>
                  <a:lnTo>
                    <a:pt x="605694" y="770477"/>
                  </a:lnTo>
                  <a:lnTo>
                    <a:pt x="605694" y="946499"/>
                  </a:lnTo>
                  <a:lnTo>
                    <a:pt x="7144" y="946499"/>
                  </a:ln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91D5518-2665-4195-A8F8-3264F899BC77}"/>
                </a:ext>
              </a:extLst>
            </p:cNvPr>
            <p:cNvSpPr/>
            <p:nvPr/>
          </p:nvSpPr>
          <p:spPr>
            <a:xfrm>
              <a:off x="10931505" y="5779590"/>
              <a:ext cx="233391" cy="238154"/>
            </a:xfrm>
            <a:custGeom>
              <a:avLst/>
              <a:gdLst>
                <a:gd name="connsiteX0" fmla="*/ 367665 w 933450"/>
                <a:gd name="connsiteY0" fmla="*/ 946595 h 952500"/>
                <a:gd name="connsiteX1" fmla="*/ 367665 w 933450"/>
                <a:gd name="connsiteY1" fmla="*/ 562070 h 952500"/>
                <a:gd name="connsiteX2" fmla="*/ 7144 w 933450"/>
                <a:gd name="connsiteY2" fmla="*/ 7144 h 952500"/>
                <a:gd name="connsiteX3" fmla="*/ 235268 w 933450"/>
                <a:gd name="connsiteY3" fmla="*/ 7144 h 952500"/>
                <a:gd name="connsiteX4" fmla="*/ 467678 w 933450"/>
                <a:gd name="connsiteY4" fmla="*/ 383191 h 952500"/>
                <a:gd name="connsiteX5" fmla="*/ 700088 w 933450"/>
                <a:gd name="connsiteY5" fmla="*/ 7144 h 952500"/>
                <a:gd name="connsiteX6" fmla="*/ 926878 w 933450"/>
                <a:gd name="connsiteY6" fmla="*/ 7144 h 952500"/>
                <a:gd name="connsiteX7" fmla="*/ 567786 w 933450"/>
                <a:gd name="connsiteY7" fmla="*/ 562070 h 952500"/>
                <a:gd name="connsiteX8" fmla="*/ 567786 w 933450"/>
                <a:gd name="connsiteY8" fmla="*/ 946499 h 952500"/>
                <a:gd name="connsiteX9" fmla="*/ 367665 w 933450"/>
                <a:gd name="connsiteY9" fmla="*/ 946499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3450" h="952500">
                  <a:moveTo>
                    <a:pt x="367665" y="946595"/>
                  </a:moveTo>
                  <a:lnTo>
                    <a:pt x="367665" y="562070"/>
                  </a:lnTo>
                  <a:lnTo>
                    <a:pt x="7144" y="7144"/>
                  </a:lnTo>
                  <a:lnTo>
                    <a:pt x="235268" y="7144"/>
                  </a:lnTo>
                  <a:lnTo>
                    <a:pt x="467678" y="383191"/>
                  </a:lnTo>
                  <a:lnTo>
                    <a:pt x="700088" y="7144"/>
                  </a:lnTo>
                  <a:lnTo>
                    <a:pt x="926878" y="7144"/>
                  </a:lnTo>
                  <a:lnTo>
                    <a:pt x="567786" y="562070"/>
                  </a:lnTo>
                  <a:lnTo>
                    <a:pt x="567786" y="946499"/>
                  </a:lnTo>
                  <a:lnTo>
                    <a:pt x="367665" y="946499"/>
                  </a:ln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23FE072-CCB3-4607-B33F-904439777076}"/>
                </a:ext>
              </a:extLst>
            </p:cNvPr>
            <p:cNvSpPr/>
            <p:nvPr/>
          </p:nvSpPr>
          <p:spPr>
            <a:xfrm>
              <a:off x="10157575" y="6072948"/>
              <a:ext cx="100025" cy="100025"/>
            </a:xfrm>
            <a:custGeom>
              <a:avLst/>
              <a:gdLst>
                <a:gd name="connsiteX0" fmla="*/ 160877 w 400050"/>
                <a:gd name="connsiteY0" fmla="*/ 398526 h 400050"/>
                <a:gd name="connsiteX1" fmla="*/ 7144 w 400050"/>
                <a:gd name="connsiteY1" fmla="*/ 7144 h 400050"/>
                <a:gd name="connsiteX2" fmla="*/ 85154 w 400050"/>
                <a:gd name="connsiteY2" fmla="*/ 7144 h 400050"/>
                <a:gd name="connsiteX3" fmla="*/ 203645 w 400050"/>
                <a:gd name="connsiteY3" fmla="*/ 323374 h 400050"/>
                <a:gd name="connsiteX4" fmla="*/ 322136 w 400050"/>
                <a:gd name="connsiteY4" fmla="*/ 7144 h 400050"/>
                <a:gd name="connsiteX5" fmla="*/ 400145 w 400050"/>
                <a:gd name="connsiteY5" fmla="*/ 7144 h 400050"/>
                <a:gd name="connsiteX6" fmla="*/ 246412 w 400050"/>
                <a:gd name="connsiteY6" fmla="*/ 398526 h 400050"/>
                <a:gd name="connsiteX7" fmla="*/ 160877 w 400050"/>
                <a:gd name="connsiteY7" fmla="*/ 3985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0050" h="400050">
                  <a:moveTo>
                    <a:pt x="160877" y="398526"/>
                  </a:moveTo>
                  <a:lnTo>
                    <a:pt x="7144" y="7144"/>
                  </a:lnTo>
                  <a:lnTo>
                    <a:pt x="85154" y="7144"/>
                  </a:lnTo>
                  <a:lnTo>
                    <a:pt x="203645" y="323374"/>
                  </a:lnTo>
                  <a:lnTo>
                    <a:pt x="322136" y="7144"/>
                  </a:lnTo>
                  <a:lnTo>
                    <a:pt x="400145" y="7144"/>
                  </a:lnTo>
                  <a:lnTo>
                    <a:pt x="246412" y="398526"/>
                  </a:lnTo>
                  <a:lnTo>
                    <a:pt x="160877" y="398526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A651B17-2DB1-4C5D-AB2E-6D5F20D29AC2}"/>
                </a:ext>
              </a:extLst>
            </p:cNvPr>
            <p:cNvSpPr/>
            <p:nvPr/>
          </p:nvSpPr>
          <p:spPr>
            <a:xfrm>
              <a:off x="10248978" y="6072948"/>
              <a:ext cx="100025" cy="100025"/>
            </a:xfrm>
            <a:custGeom>
              <a:avLst/>
              <a:gdLst>
                <a:gd name="connsiteX0" fmla="*/ 322231 w 400050"/>
                <a:gd name="connsiteY0" fmla="*/ 398526 h 400050"/>
                <a:gd name="connsiteX1" fmla="*/ 293465 w 400050"/>
                <a:gd name="connsiteY1" fmla="*/ 322802 h 400050"/>
                <a:gd name="connsiteX2" fmla="*/ 113919 w 400050"/>
                <a:gd name="connsiteY2" fmla="*/ 322802 h 400050"/>
                <a:gd name="connsiteX3" fmla="*/ 85154 w 400050"/>
                <a:gd name="connsiteY3" fmla="*/ 398526 h 400050"/>
                <a:gd name="connsiteX4" fmla="*/ 7144 w 400050"/>
                <a:gd name="connsiteY4" fmla="*/ 398526 h 400050"/>
                <a:gd name="connsiteX5" fmla="*/ 160877 w 400050"/>
                <a:gd name="connsiteY5" fmla="*/ 7144 h 400050"/>
                <a:gd name="connsiteX6" fmla="*/ 246507 w 400050"/>
                <a:gd name="connsiteY6" fmla="*/ 7144 h 400050"/>
                <a:gd name="connsiteX7" fmla="*/ 400241 w 400050"/>
                <a:gd name="connsiteY7" fmla="*/ 398526 h 400050"/>
                <a:gd name="connsiteX8" fmla="*/ 322231 w 400050"/>
                <a:gd name="connsiteY8" fmla="*/ 398526 h 400050"/>
                <a:gd name="connsiteX9" fmla="*/ 203740 w 400050"/>
                <a:gd name="connsiteY9" fmla="*/ 75819 h 400050"/>
                <a:gd name="connsiteX10" fmla="*/ 133350 w 400050"/>
                <a:gd name="connsiteY10" fmla="*/ 262414 h 400050"/>
                <a:gd name="connsiteX11" fmla="*/ 274129 w 400050"/>
                <a:gd name="connsiteY11" fmla="*/ 262414 h 400050"/>
                <a:gd name="connsiteX12" fmla="*/ 203740 w 400050"/>
                <a:gd name="connsiteY12" fmla="*/ 75819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0050" h="400050">
                  <a:moveTo>
                    <a:pt x="322231" y="398526"/>
                  </a:moveTo>
                  <a:lnTo>
                    <a:pt x="293465" y="322802"/>
                  </a:lnTo>
                  <a:lnTo>
                    <a:pt x="113919" y="322802"/>
                  </a:lnTo>
                  <a:lnTo>
                    <a:pt x="85154" y="398526"/>
                  </a:lnTo>
                  <a:lnTo>
                    <a:pt x="7144" y="398526"/>
                  </a:lnTo>
                  <a:lnTo>
                    <a:pt x="160877" y="7144"/>
                  </a:lnTo>
                  <a:lnTo>
                    <a:pt x="246507" y="7144"/>
                  </a:lnTo>
                  <a:lnTo>
                    <a:pt x="400241" y="398526"/>
                  </a:lnTo>
                  <a:lnTo>
                    <a:pt x="322231" y="398526"/>
                  </a:lnTo>
                  <a:close/>
                  <a:moveTo>
                    <a:pt x="203740" y="75819"/>
                  </a:moveTo>
                  <a:lnTo>
                    <a:pt x="133350" y="262414"/>
                  </a:lnTo>
                  <a:lnTo>
                    <a:pt x="274129" y="262414"/>
                  </a:lnTo>
                  <a:lnTo>
                    <a:pt x="203740" y="75819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ABBE5F2-BDCE-48AB-8EC9-B0DCE5789287}"/>
                </a:ext>
              </a:extLst>
            </p:cNvPr>
            <p:cNvSpPr/>
            <p:nvPr/>
          </p:nvSpPr>
          <p:spPr>
            <a:xfrm>
              <a:off x="10356671" y="6072948"/>
              <a:ext cx="61920" cy="100025"/>
            </a:xfrm>
            <a:custGeom>
              <a:avLst/>
              <a:gdLst>
                <a:gd name="connsiteX0" fmla="*/ 7144 w 247650"/>
                <a:gd name="connsiteY0" fmla="*/ 398526 h 400050"/>
                <a:gd name="connsiteX1" fmla="*/ 7144 w 247650"/>
                <a:gd name="connsiteY1" fmla="*/ 7144 h 400050"/>
                <a:gd name="connsiteX2" fmla="*/ 75819 w 247650"/>
                <a:gd name="connsiteY2" fmla="*/ 7144 h 400050"/>
                <a:gd name="connsiteX3" fmla="*/ 75819 w 247650"/>
                <a:gd name="connsiteY3" fmla="*/ 338042 h 400050"/>
                <a:gd name="connsiteX4" fmla="*/ 248317 w 247650"/>
                <a:gd name="connsiteY4" fmla="*/ 338042 h 400050"/>
                <a:gd name="connsiteX5" fmla="*/ 248317 w 247650"/>
                <a:gd name="connsiteY5" fmla="*/ 398431 h 400050"/>
                <a:gd name="connsiteX6" fmla="*/ 7144 w 247650"/>
                <a:gd name="connsiteY6" fmla="*/ 39843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650" h="400050">
                  <a:moveTo>
                    <a:pt x="7144" y="398526"/>
                  </a:moveTo>
                  <a:lnTo>
                    <a:pt x="7144" y="7144"/>
                  </a:lnTo>
                  <a:lnTo>
                    <a:pt x="75819" y="7144"/>
                  </a:lnTo>
                  <a:lnTo>
                    <a:pt x="75819" y="338042"/>
                  </a:lnTo>
                  <a:lnTo>
                    <a:pt x="248317" y="338042"/>
                  </a:lnTo>
                  <a:lnTo>
                    <a:pt x="248317" y="398431"/>
                  </a:lnTo>
                  <a:lnTo>
                    <a:pt x="7144" y="398431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ECBD6B2-A8A9-4417-9B8D-79D808E88E4B}"/>
                </a:ext>
              </a:extLst>
            </p:cNvPr>
            <p:cNvSpPr/>
            <p:nvPr/>
          </p:nvSpPr>
          <p:spPr>
            <a:xfrm>
              <a:off x="10423426" y="6071353"/>
              <a:ext cx="102406" cy="104788"/>
            </a:xfrm>
            <a:custGeom>
              <a:avLst/>
              <a:gdLst>
                <a:gd name="connsiteX0" fmla="*/ 7144 w 409575"/>
                <a:gd name="connsiteY0" fmla="*/ 209550 h 419100"/>
                <a:gd name="connsiteX1" fmla="*/ 207264 w 409575"/>
                <a:gd name="connsiteY1" fmla="*/ 7144 h 419100"/>
                <a:gd name="connsiteX2" fmla="*/ 407384 w 409575"/>
                <a:gd name="connsiteY2" fmla="*/ 209550 h 419100"/>
                <a:gd name="connsiteX3" fmla="*/ 207264 w 409575"/>
                <a:gd name="connsiteY3" fmla="*/ 411956 h 419100"/>
                <a:gd name="connsiteX4" fmla="*/ 7144 w 409575"/>
                <a:gd name="connsiteY4" fmla="*/ 209550 h 419100"/>
                <a:gd name="connsiteX5" fmla="*/ 336900 w 409575"/>
                <a:gd name="connsiteY5" fmla="*/ 209550 h 419100"/>
                <a:gd name="connsiteX6" fmla="*/ 207264 w 409575"/>
                <a:gd name="connsiteY6" fmla="*/ 68104 h 419100"/>
                <a:gd name="connsiteX7" fmla="*/ 77629 w 409575"/>
                <a:gd name="connsiteY7" fmla="*/ 209550 h 419100"/>
                <a:gd name="connsiteX8" fmla="*/ 207264 w 409575"/>
                <a:gd name="connsiteY8" fmla="*/ 350996 h 419100"/>
                <a:gd name="connsiteX9" fmla="*/ 336900 w 409575"/>
                <a:gd name="connsiteY9" fmla="*/ 20955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9575" h="419100">
                  <a:moveTo>
                    <a:pt x="7144" y="209550"/>
                  </a:moveTo>
                  <a:cubicBezTo>
                    <a:pt x="7144" y="92773"/>
                    <a:pt x="89916" y="7144"/>
                    <a:pt x="207264" y="7144"/>
                  </a:cubicBezTo>
                  <a:cubicBezTo>
                    <a:pt x="324041" y="7144"/>
                    <a:pt x="407384" y="92773"/>
                    <a:pt x="407384" y="209550"/>
                  </a:cubicBezTo>
                  <a:cubicBezTo>
                    <a:pt x="407384" y="326326"/>
                    <a:pt x="324041" y="411956"/>
                    <a:pt x="207264" y="411956"/>
                  </a:cubicBezTo>
                  <a:cubicBezTo>
                    <a:pt x="89916" y="411956"/>
                    <a:pt x="7144" y="326326"/>
                    <a:pt x="7144" y="209550"/>
                  </a:cubicBezTo>
                  <a:close/>
                  <a:moveTo>
                    <a:pt x="336900" y="209550"/>
                  </a:moveTo>
                  <a:cubicBezTo>
                    <a:pt x="336900" y="128588"/>
                    <a:pt x="285845" y="68104"/>
                    <a:pt x="207264" y="68104"/>
                  </a:cubicBezTo>
                  <a:cubicBezTo>
                    <a:pt x="128016" y="68104"/>
                    <a:pt x="77629" y="128492"/>
                    <a:pt x="77629" y="209550"/>
                  </a:cubicBezTo>
                  <a:cubicBezTo>
                    <a:pt x="77629" y="289941"/>
                    <a:pt x="128111" y="350996"/>
                    <a:pt x="207264" y="350996"/>
                  </a:cubicBezTo>
                  <a:cubicBezTo>
                    <a:pt x="285845" y="350996"/>
                    <a:pt x="336900" y="289941"/>
                    <a:pt x="336900" y="209550"/>
                  </a:cubicBez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60DC9E-BC68-420D-9079-ACBD9BF07D51}"/>
                </a:ext>
              </a:extLst>
            </p:cNvPr>
            <p:cNvSpPr/>
            <p:nvPr/>
          </p:nvSpPr>
          <p:spPr>
            <a:xfrm>
              <a:off x="10539907" y="6072948"/>
              <a:ext cx="78591" cy="100025"/>
            </a:xfrm>
            <a:custGeom>
              <a:avLst/>
              <a:gdLst>
                <a:gd name="connsiteX0" fmla="*/ 230696 w 314325"/>
                <a:gd name="connsiteY0" fmla="*/ 398526 h 400050"/>
                <a:gd name="connsiteX1" fmla="*/ 144494 w 314325"/>
                <a:gd name="connsiteY1" fmla="*/ 252413 h 400050"/>
                <a:gd name="connsiteX2" fmla="*/ 75819 w 314325"/>
                <a:gd name="connsiteY2" fmla="*/ 252413 h 400050"/>
                <a:gd name="connsiteX3" fmla="*/ 75819 w 314325"/>
                <a:gd name="connsiteY3" fmla="*/ 398526 h 400050"/>
                <a:gd name="connsiteX4" fmla="*/ 7144 w 314325"/>
                <a:gd name="connsiteY4" fmla="*/ 398526 h 400050"/>
                <a:gd name="connsiteX5" fmla="*/ 7144 w 314325"/>
                <a:gd name="connsiteY5" fmla="*/ 7144 h 400050"/>
                <a:gd name="connsiteX6" fmla="*/ 179070 w 314325"/>
                <a:gd name="connsiteY6" fmla="*/ 7144 h 400050"/>
                <a:gd name="connsiteX7" fmla="*/ 307562 w 314325"/>
                <a:gd name="connsiteY7" fmla="*/ 129730 h 400050"/>
                <a:gd name="connsiteX8" fmla="*/ 214313 w 314325"/>
                <a:gd name="connsiteY8" fmla="*/ 244697 h 400050"/>
                <a:gd name="connsiteX9" fmla="*/ 310515 w 314325"/>
                <a:gd name="connsiteY9" fmla="*/ 398431 h 400050"/>
                <a:gd name="connsiteX10" fmla="*/ 230696 w 314325"/>
                <a:gd name="connsiteY10" fmla="*/ 398431 h 400050"/>
                <a:gd name="connsiteX11" fmla="*/ 237173 w 314325"/>
                <a:gd name="connsiteY11" fmla="*/ 129254 h 400050"/>
                <a:gd name="connsiteX12" fmla="*/ 170307 w 314325"/>
                <a:gd name="connsiteY12" fmla="*/ 67627 h 400050"/>
                <a:gd name="connsiteX13" fmla="*/ 75819 w 314325"/>
                <a:gd name="connsiteY13" fmla="*/ 67627 h 400050"/>
                <a:gd name="connsiteX14" fmla="*/ 75819 w 314325"/>
                <a:gd name="connsiteY14" fmla="*/ 192024 h 400050"/>
                <a:gd name="connsiteX15" fmla="*/ 170307 w 314325"/>
                <a:gd name="connsiteY15" fmla="*/ 192024 h 400050"/>
                <a:gd name="connsiteX16" fmla="*/ 237173 w 314325"/>
                <a:gd name="connsiteY16" fmla="*/ 129254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4325" h="400050">
                  <a:moveTo>
                    <a:pt x="230696" y="398526"/>
                  </a:moveTo>
                  <a:lnTo>
                    <a:pt x="144494" y="252413"/>
                  </a:lnTo>
                  <a:lnTo>
                    <a:pt x="75819" y="252413"/>
                  </a:lnTo>
                  <a:lnTo>
                    <a:pt x="75819" y="398526"/>
                  </a:lnTo>
                  <a:lnTo>
                    <a:pt x="7144" y="398526"/>
                  </a:lnTo>
                  <a:lnTo>
                    <a:pt x="7144" y="7144"/>
                  </a:lnTo>
                  <a:lnTo>
                    <a:pt x="179070" y="7144"/>
                  </a:lnTo>
                  <a:cubicBezTo>
                    <a:pt x="256508" y="7144"/>
                    <a:pt x="307562" y="57055"/>
                    <a:pt x="307562" y="129730"/>
                  </a:cubicBezTo>
                  <a:cubicBezTo>
                    <a:pt x="307562" y="198977"/>
                    <a:pt x="261747" y="237077"/>
                    <a:pt x="214313" y="244697"/>
                  </a:cubicBezTo>
                  <a:lnTo>
                    <a:pt x="310515" y="398431"/>
                  </a:lnTo>
                  <a:lnTo>
                    <a:pt x="230696" y="398431"/>
                  </a:lnTo>
                  <a:close/>
                  <a:moveTo>
                    <a:pt x="237173" y="129254"/>
                  </a:moveTo>
                  <a:cubicBezTo>
                    <a:pt x="237173" y="91726"/>
                    <a:pt x="208979" y="67627"/>
                    <a:pt x="170307" y="67627"/>
                  </a:cubicBezTo>
                  <a:lnTo>
                    <a:pt x="75819" y="67627"/>
                  </a:lnTo>
                  <a:lnTo>
                    <a:pt x="75819" y="192024"/>
                  </a:lnTo>
                  <a:lnTo>
                    <a:pt x="170307" y="192024"/>
                  </a:lnTo>
                  <a:cubicBezTo>
                    <a:pt x="208979" y="192024"/>
                    <a:pt x="237173" y="167354"/>
                    <a:pt x="237173" y="129254"/>
                  </a:cubicBez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9C4264E-B3DE-49C4-87E4-FEB934EFDC15}"/>
                </a:ext>
              </a:extLst>
            </p:cNvPr>
            <p:cNvSpPr/>
            <p:nvPr/>
          </p:nvSpPr>
          <p:spPr>
            <a:xfrm>
              <a:off x="10632192" y="6072948"/>
              <a:ext cx="69065" cy="100025"/>
            </a:xfrm>
            <a:custGeom>
              <a:avLst/>
              <a:gdLst>
                <a:gd name="connsiteX0" fmla="*/ 7144 w 276225"/>
                <a:gd name="connsiteY0" fmla="*/ 398526 h 400050"/>
                <a:gd name="connsiteX1" fmla="*/ 7144 w 276225"/>
                <a:gd name="connsiteY1" fmla="*/ 7144 h 400050"/>
                <a:gd name="connsiteX2" fmla="*/ 275273 w 276225"/>
                <a:gd name="connsiteY2" fmla="*/ 7144 h 400050"/>
                <a:gd name="connsiteX3" fmla="*/ 275273 w 276225"/>
                <a:gd name="connsiteY3" fmla="*/ 67532 h 400050"/>
                <a:gd name="connsiteX4" fmla="*/ 75819 w 276225"/>
                <a:gd name="connsiteY4" fmla="*/ 67532 h 400050"/>
                <a:gd name="connsiteX5" fmla="*/ 75819 w 276225"/>
                <a:gd name="connsiteY5" fmla="*/ 168497 h 400050"/>
                <a:gd name="connsiteX6" fmla="*/ 271177 w 276225"/>
                <a:gd name="connsiteY6" fmla="*/ 168497 h 400050"/>
                <a:gd name="connsiteX7" fmla="*/ 271177 w 276225"/>
                <a:gd name="connsiteY7" fmla="*/ 228886 h 400050"/>
                <a:gd name="connsiteX8" fmla="*/ 75819 w 276225"/>
                <a:gd name="connsiteY8" fmla="*/ 228886 h 400050"/>
                <a:gd name="connsiteX9" fmla="*/ 75819 w 276225"/>
                <a:gd name="connsiteY9" fmla="*/ 338042 h 400050"/>
                <a:gd name="connsiteX10" fmla="*/ 275273 w 276225"/>
                <a:gd name="connsiteY10" fmla="*/ 338042 h 400050"/>
                <a:gd name="connsiteX11" fmla="*/ 275273 w 276225"/>
                <a:gd name="connsiteY11" fmla="*/ 398431 h 400050"/>
                <a:gd name="connsiteX12" fmla="*/ 7144 w 276225"/>
                <a:gd name="connsiteY12" fmla="*/ 39843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6225" h="400050">
                  <a:moveTo>
                    <a:pt x="7144" y="398526"/>
                  </a:moveTo>
                  <a:lnTo>
                    <a:pt x="7144" y="7144"/>
                  </a:lnTo>
                  <a:lnTo>
                    <a:pt x="275273" y="7144"/>
                  </a:lnTo>
                  <a:lnTo>
                    <a:pt x="275273" y="67532"/>
                  </a:lnTo>
                  <a:lnTo>
                    <a:pt x="75819" y="67532"/>
                  </a:lnTo>
                  <a:lnTo>
                    <a:pt x="75819" y="168497"/>
                  </a:lnTo>
                  <a:lnTo>
                    <a:pt x="271177" y="168497"/>
                  </a:lnTo>
                  <a:lnTo>
                    <a:pt x="271177" y="228886"/>
                  </a:lnTo>
                  <a:lnTo>
                    <a:pt x="75819" y="228886"/>
                  </a:lnTo>
                  <a:lnTo>
                    <a:pt x="75819" y="338042"/>
                  </a:lnTo>
                  <a:lnTo>
                    <a:pt x="275273" y="338042"/>
                  </a:lnTo>
                  <a:lnTo>
                    <a:pt x="275273" y="398431"/>
                  </a:lnTo>
                  <a:lnTo>
                    <a:pt x="7144" y="398431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5011E0D-40F2-426B-9359-DF16566D6BB0}"/>
                </a:ext>
              </a:extLst>
            </p:cNvPr>
            <p:cNvSpPr/>
            <p:nvPr/>
          </p:nvSpPr>
          <p:spPr>
            <a:xfrm>
              <a:off x="10716832" y="6072948"/>
              <a:ext cx="104788" cy="100025"/>
            </a:xfrm>
            <a:custGeom>
              <a:avLst/>
              <a:gdLst>
                <a:gd name="connsiteX0" fmla="*/ 345186 w 419100"/>
                <a:gd name="connsiteY0" fmla="*/ 398526 h 400050"/>
                <a:gd name="connsiteX1" fmla="*/ 345186 w 419100"/>
                <a:gd name="connsiteY1" fmla="*/ 96393 h 400050"/>
                <a:gd name="connsiteX2" fmla="*/ 225457 w 419100"/>
                <a:gd name="connsiteY2" fmla="*/ 398526 h 400050"/>
                <a:gd name="connsiteX3" fmla="*/ 196120 w 419100"/>
                <a:gd name="connsiteY3" fmla="*/ 398526 h 400050"/>
                <a:gd name="connsiteX4" fmla="*/ 75819 w 419100"/>
                <a:gd name="connsiteY4" fmla="*/ 96393 h 400050"/>
                <a:gd name="connsiteX5" fmla="*/ 75819 w 419100"/>
                <a:gd name="connsiteY5" fmla="*/ 398526 h 400050"/>
                <a:gd name="connsiteX6" fmla="*/ 7144 w 419100"/>
                <a:gd name="connsiteY6" fmla="*/ 398526 h 400050"/>
                <a:gd name="connsiteX7" fmla="*/ 7144 w 419100"/>
                <a:gd name="connsiteY7" fmla="*/ 7144 h 400050"/>
                <a:gd name="connsiteX8" fmla="*/ 103918 w 419100"/>
                <a:gd name="connsiteY8" fmla="*/ 7144 h 400050"/>
                <a:gd name="connsiteX9" fmla="*/ 210693 w 419100"/>
                <a:gd name="connsiteY9" fmla="*/ 275844 h 400050"/>
                <a:gd name="connsiteX10" fmla="*/ 316897 w 419100"/>
                <a:gd name="connsiteY10" fmla="*/ 7144 h 400050"/>
                <a:gd name="connsiteX11" fmla="*/ 413671 w 419100"/>
                <a:gd name="connsiteY11" fmla="*/ 7144 h 400050"/>
                <a:gd name="connsiteX12" fmla="*/ 413671 w 419100"/>
                <a:gd name="connsiteY12" fmla="*/ 398526 h 400050"/>
                <a:gd name="connsiteX13" fmla="*/ 345186 w 419100"/>
                <a:gd name="connsiteY13" fmla="*/ 3985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9100" h="400050">
                  <a:moveTo>
                    <a:pt x="345186" y="398526"/>
                  </a:moveTo>
                  <a:lnTo>
                    <a:pt x="345186" y="96393"/>
                  </a:lnTo>
                  <a:lnTo>
                    <a:pt x="225457" y="398526"/>
                  </a:lnTo>
                  <a:lnTo>
                    <a:pt x="196120" y="398526"/>
                  </a:lnTo>
                  <a:lnTo>
                    <a:pt x="75819" y="96393"/>
                  </a:lnTo>
                  <a:lnTo>
                    <a:pt x="75819" y="398526"/>
                  </a:lnTo>
                  <a:lnTo>
                    <a:pt x="7144" y="398526"/>
                  </a:lnTo>
                  <a:lnTo>
                    <a:pt x="7144" y="7144"/>
                  </a:lnTo>
                  <a:lnTo>
                    <a:pt x="103918" y="7144"/>
                  </a:lnTo>
                  <a:lnTo>
                    <a:pt x="210693" y="275844"/>
                  </a:lnTo>
                  <a:lnTo>
                    <a:pt x="316897" y="7144"/>
                  </a:lnTo>
                  <a:lnTo>
                    <a:pt x="413671" y="7144"/>
                  </a:lnTo>
                  <a:lnTo>
                    <a:pt x="413671" y="398526"/>
                  </a:lnTo>
                  <a:lnTo>
                    <a:pt x="345186" y="398526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877945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F6C810FC-F638-46AD-B235-0880921D8B8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217400" cy="6858000"/>
          </a:xfrm>
        </p:spPr>
        <p:txBody>
          <a:bodyPr>
            <a:noAutofit/>
          </a:bodyPr>
          <a:lstStyle>
            <a:lvl1pPr>
              <a:defRPr sz="15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71ABD432-A4FB-4CCB-AD1D-7134E3BC5E2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30000" y="0"/>
            <a:ext cx="8287385" cy="6858000"/>
          </a:xfrm>
          <a:custGeom>
            <a:avLst/>
            <a:gdLst>
              <a:gd name="connsiteX0" fmla="*/ 0 w 8262000"/>
              <a:gd name="connsiteY0" fmla="*/ 6858000 h 6858000"/>
              <a:gd name="connsiteX1" fmla="*/ 1562115 w 8262000"/>
              <a:gd name="connsiteY1" fmla="*/ 0 h 6858000"/>
              <a:gd name="connsiteX2" fmla="*/ 8262000 w 8262000"/>
              <a:gd name="connsiteY2" fmla="*/ 0 h 6858000"/>
              <a:gd name="connsiteX3" fmla="*/ 6699885 w 8262000"/>
              <a:gd name="connsiteY3" fmla="*/ 6858000 h 6858000"/>
              <a:gd name="connsiteX4" fmla="*/ 0 w 8262000"/>
              <a:gd name="connsiteY4" fmla="*/ 6858000 h 6858000"/>
              <a:gd name="connsiteX0" fmla="*/ 0 w 8287385"/>
              <a:gd name="connsiteY0" fmla="*/ 6858000 h 6858000"/>
              <a:gd name="connsiteX1" fmla="*/ 1562115 w 8287385"/>
              <a:gd name="connsiteY1" fmla="*/ 0 h 6858000"/>
              <a:gd name="connsiteX2" fmla="*/ 8262000 w 8287385"/>
              <a:gd name="connsiteY2" fmla="*/ 0 h 6858000"/>
              <a:gd name="connsiteX3" fmla="*/ 8287385 w 8287385"/>
              <a:gd name="connsiteY3" fmla="*/ 6858000 h 6858000"/>
              <a:gd name="connsiteX4" fmla="*/ 0 w 8287385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7385" h="6858000">
                <a:moveTo>
                  <a:pt x="0" y="6858000"/>
                </a:moveTo>
                <a:lnTo>
                  <a:pt x="1562115" y="0"/>
                </a:lnTo>
                <a:lnTo>
                  <a:pt x="8262000" y="0"/>
                </a:lnTo>
                <a:cubicBezTo>
                  <a:pt x="8270462" y="2286000"/>
                  <a:pt x="8278923" y="4572000"/>
                  <a:pt x="8287385" y="6858000"/>
                </a:cubicBezTo>
                <a:lnTo>
                  <a:pt x="0" y="6858000"/>
                </a:lnTo>
                <a:close/>
              </a:path>
            </a:pathLst>
          </a:custGeom>
          <a:solidFill>
            <a:schemeClr val="bg2">
              <a:alpha val="9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D5D6EAA-F2C9-49E9-A0AC-F7C7CC1D6B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01110" y="3148125"/>
            <a:ext cx="5100676" cy="1533407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E682DD3C-CE39-428D-BEEC-F68FB098B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4442" y="1410039"/>
            <a:ext cx="5099561" cy="1196366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8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582B6B39-FF56-403E-B50F-D231A08AFE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83324" y="2727341"/>
            <a:ext cx="5100676" cy="226472"/>
          </a:xfrm>
        </p:spPr>
        <p:txBody>
          <a:bodyPr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b="0" kern="1200" cap="none" spc="60" baseline="0" dirty="0">
                <a:ln w="3175">
                  <a:noFill/>
                </a:ln>
                <a:solidFill>
                  <a:srgbClr val="7F9FD4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339717" indent="0">
              <a:buNone/>
              <a:defRPr/>
            </a:lvl2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2B2ACC35-BE79-40B3-AA31-8BA2AD689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75722" y="5321808"/>
            <a:ext cx="729579" cy="1536192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5138"/>
              <a:gd name="connsiteY0" fmla="*/ 10000 h 10000"/>
              <a:gd name="connsiteX1" fmla="*/ 2000 w 15138"/>
              <a:gd name="connsiteY1" fmla="*/ 0 h 10000"/>
              <a:gd name="connsiteX2" fmla="*/ 15138 w 15138"/>
              <a:gd name="connsiteY2" fmla="*/ 0 h 10000"/>
              <a:gd name="connsiteX3" fmla="*/ 8000 w 15138"/>
              <a:gd name="connsiteY3" fmla="*/ 10000 h 10000"/>
              <a:gd name="connsiteX4" fmla="*/ 0 w 15138"/>
              <a:gd name="connsiteY4" fmla="*/ 10000 h 10000"/>
              <a:gd name="connsiteX0" fmla="*/ 0 w 15138"/>
              <a:gd name="connsiteY0" fmla="*/ 10000 h 10000"/>
              <a:gd name="connsiteX1" fmla="*/ 7073 w 15138"/>
              <a:gd name="connsiteY1" fmla="*/ 0 h 10000"/>
              <a:gd name="connsiteX2" fmla="*/ 15138 w 15138"/>
              <a:gd name="connsiteY2" fmla="*/ 0 h 10000"/>
              <a:gd name="connsiteX3" fmla="*/ 8000 w 15138"/>
              <a:gd name="connsiteY3" fmla="*/ 10000 h 10000"/>
              <a:gd name="connsiteX4" fmla="*/ 0 w 15138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38" h="10000">
                <a:moveTo>
                  <a:pt x="0" y="10000"/>
                </a:moveTo>
                <a:lnTo>
                  <a:pt x="7073" y="0"/>
                </a:lnTo>
                <a:lnTo>
                  <a:pt x="15138" y="0"/>
                </a:lnTo>
                <a:lnTo>
                  <a:pt x="8000" y="10000"/>
                </a:lnTo>
                <a:lnTo>
                  <a:pt x="0" y="10000"/>
                </a:lnTo>
                <a:close/>
              </a:path>
            </a:pathLst>
          </a:cu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100000">
                <a:srgbClr val="0040AA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1AE5102-FB2D-44E6-9A17-FFAC22AC9532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10" name="Oval 503">
              <a:extLst>
                <a:ext uri="{FF2B5EF4-FFF2-40B4-BE49-F238E27FC236}">
                  <a16:creationId xmlns:a16="http://schemas.microsoft.com/office/drawing/2014/main" id="{8B21FA44-B5BC-4541-82B4-6A3B17ED5FE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504">
              <a:extLst>
                <a:ext uri="{FF2B5EF4-FFF2-40B4-BE49-F238E27FC236}">
                  <a16:creationId xmlns:a16="http://schemas.microsoft.com/office/drawing/2014/main" id="{01A2C8FC-7805-48D2-B74A-43DA25FE48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Oval 505">
              <a:extLst>
                <a:ext uri="{FF2B5EF4-FFF2-40B4-BE49-F238E27FC236}">
                  <a16:creationId xmlns:a16="http://schemas.microsoft.com/office/drawing/2014/main" id="{0C44E584-70D3-4383-9E45-5968EE9FFE9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06">
              <a:extLst>
                <a:ext uri="{FF2B5EF4-FFF2-40B4-BE49-F238E27FC236}">
                  <a16:creationId xmlns:a16="http://schemas.microsoft.com/office/drawing/2014/main" id="{B60A44F4-CB46-40A3-A65C-7C37CE283A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64422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nsition Slide - Photo - Objec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FA62947-245D-45F7-B4FA-0B8F0178C2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BA03ABF-581C-4813-B3F8-1F9690A657FD}"/>
              </a:ext>
            </a:extLst>
          </p:cNvPr>
          <p:cNvSpPr/>
          <p:nvPr userDrawn="1"/>
        </p:nvSpPr>
        <p:spPr>
          <a:xfrm>
            <a:off x="2" y="0"/>
            <a:ext cx="12191998" cy="6858000"/>
          </a:xfrm>
          <a:prstGeom prst="rect">
            <a:avLst/>
          </a:prstGeom>
          <a:solidFill>
            <a:schemeClr val="bg1">
              <a:alpha val="90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78C1E-4F3D-44EB-9DAF-D02D1805E3DC}"/>
              </a:ext>
            </a:extLst>
          </p:cNvPr>
          <p:cNvSpPr/>
          <p:nvPr userDrawn="1"/>
        </p:nvSpPr>
        <p:spPr>
          <a:xfrm>
            <a:off x="3810000" y="1752600"/>
            <a:ext cx="4572000" cy="3352800"/>
          </a:xfrm>
          <a:prstGeom prst="rect">
            <a:avLst/>
          </a:pr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87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03EEE37-B469-45B6-A638-2EA2EF4086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0" y="3179701"/>
            <a:ext cx="4572000" cy="498598"/>
          </a:xfrm>
        </p:spPr>
        <p:txBody>
          <a:bodyPr anchor="ctr" anchorCtr="0">
            <a:spAutoFit/>
          </a:bodyPr>
          <a:lstStyle>
            <a:lvl1pPr algn="ctr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all" spc="-10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Insert Title He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D972614-18D9-4BA0-81FD-5B1AEA4DCB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1546" y="3771900"/>
            <a:ext cx="3048908" cy="1846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339725" indent="0">
              <a:buNone/>
              <a:defRPr/>
            </a:lvl2pPr>
            <a:lvl3pPr marL="573088" indent="0">
              <a:buNone/>
              <a:defRPr/>
            </a:lvl3pPr>
            <a:lvl4pPr marL="798513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IN"/>
              <a:t>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1928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6756" y="609600"/>
            <a:ext cx="10339200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6753" y="1268414"/>
            <a:ext cx="10339200" cy="2466000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10485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- Card - Photo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3C905E55-CD1E-432B-9883-ADACC0EDB9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A0864B9-BE3B-4FE4-8D93-3221EB0BB37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91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4A78B7-784D-4152-B283-7D9907C40764}"/>
              </a:ext>
            </a:extLst>
          </p:cNvPr>
          <p:cNvSpPr/>
          <p:nvPr userDrawn="1"/>
        </p:nvSpPr>
        <p:spPr>
          <a:xfrm>
            <a:off x="1423686" y="1531620"/>
            <a:ext cx="6120114" cy="3802380"/>
          </a:xfrm>
          <a:prstGeom prst="rect">
            <a:avLst/>
          </a:prstGeom>
          <a:solidFill>
            <a:schemeClr val="bg1"/>
          </a:solidFill>
          <a:ln w="25400">
            <a:noFill/>
            <a:headEnd type="triangle"/>
            <a:tailEnd type="none"/>
          </a:ln>
          <a:effectLst>
            <a:outerShdw blurRad="444500" dist="1143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2A28F4F-955B-45BE-B82D-74B2AD3E7411}"/>
              </a:ext>
            </a:extLst>
          </p:cNvPr>
          <p:cNvSpPr/>
          <p:nvPr userDrawn="1"/>
        </p:nvSpPr>
        <p:spPr>
          <a:xfrm>
            <a:off x="1598946" y="1668780"/>
            <a:ext cx="5769594" cy="3528060"/>
          </a:xfrm>
          <a:prstGeom prst="rect">
            <a:avLst/>
          </a:prstGeom>
          <a:noFill/>
          <a:ln w="9525">
            <a:solidFill>
              <a:srgbClr val="212A32">
                <a:alpha val="24000"/>
              </a:srgb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A97E559-56A2-408C-B8B3-326C94C844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24880" y="2823167"/>
            <a:ext cx="5117726" cy="1219286"/>
          </a:xfrm>
        </p:spPr>
        <p:txBody>
          <a:bodyPr anchor="ctr" anchorCtr="0"/>
          <a:lstStyle>
            <a:lvl1pPr algn="ctr">
              <a:defRPr sz="4000" spc="-100" baseline="0">
                <a:solidFill>
                  <a:srgbClr val="212A32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Insert Title He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6E4184C-C85D-4079-A1E4-DEE06104CE29}"/>
              </a:ext>
            </a:extLst>
          </p:cNvPr>
          <p:cNvSpPr txBox="1"/>
          <p:nvPr userDrawn="1"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616CE70-DCA6-448D-91B1-EF2E1829F833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12" name="Oval 503">
              <a:extLst>
                <a:ext uri="{FF2B5EF4-FFF2-40B4-BE49-F238E27FC236}">
                  <a16:creationId xmlns:a16="http://schemas.microsoft.com/office/drawing/2014/main" id="{1DEEBF9E-F0BD-4AB5-A705-C1BEF4DEB9E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504">
              <a:extLst>
                <a:ext uri="{FF2B5EF4-FFF2-40B4-BE49-F238E27FC236}">
                  <a16:creationId xmlns:a16="http://schemas.microsoft.com/office/drawing/2014/main" id="{31358443-CA48-4C33-B80C-3C54F733F2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505">
              <a:extLst>
                <a:ext uri="{FF2B5EF4-FFF2-40B4-BE49-F238E27FC236}">
                  <a16:creationId xmlns:a16="http://schemas.microsoft.com/office/drawing/2014/main" id="{25497808-311F-42DE-BCAC-95732420D67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506">
              <a:extLst>
                <a:ext uri="{FF2B5EF4-FFF2-40B4-BE49-F238E27FC236}">
                  <a16:creationId xmlns:a16="http://schemas.microsoft.com/office/drawing/2014/main" id="{F1EAF3E9-D924-4ACC-9D6C-A8210C89E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703984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0E37A3-2C61-82CC-9EBE-26EE9E7937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34ED8B-829D-3D30-78CD-A852DEF992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B1747B-4FC2-FE54-00A9-7F415FAA83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97368-9517-4503-9A2D-81C10560C46D}" type="datetimeFigureOut">
              <a:rPr lang="en-IN" smtClean="0"/>
              <a:t>02-04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5C52A4-11E4-28E9-847E-AB2D2F192B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1029-0BE2-C5F0-548B-3789508CC5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04A2AA-2D05-4D47-AB6C-4470086E3DC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244109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D9507-EB2D-2279-B834-818B8DA0F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485B7F-3C4F-8BF8-4EE3-838A0F03EB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F5F95A-8881-22FD-89E9-DBB63F7222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97368-9517-4503-9A2D-81C10560C46D}" type="datetimeFigureOut">
              <a:rPr lang="en-IN" smtClean="0"/>
              <a:t>02-04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F75B3A-3599-6085-86C5-4F7827251A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B8F8F0-D9E4-CF0B-0A78-AED6983112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04A2AA-2D05-4D47-AB6C-4470086E3DC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022725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80A881-75C2-A18B-611E-C45C01F4F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E6ED85-2BAE-529F-CB3A-C3D879B5830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5643B28-2E53-B595-E6DF-A74DE92EFE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A230F28-9696-8806-EA17-4A9D3B5D40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97368-9517-4503-9A2D-81C10560C46D}" type="datetimeFigureOut">
              <a:rPr lang="en-IN" smtClean="0"/>
              <a:t>02-04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F3F412-331E-021E-E2A3-06B5CF0961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36767A-8905-68F5-99FB-76BD2057B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04A2AA-2D05-4D47-AB6C-4470086E3DC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241838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676E65-7310-1AF8-79D3-025336AACC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7687EB-B77C-8B3E-742A-4E2354D44B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76DA78E-2A90-9B9C-F0EE-C165427D144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9C86C1-FE1D-FEA9-18F3-78B484C529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41631B1-CFF9-30A6-A6FD-5E3D7C88839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AC48909-66FA-D15B-D14F-BCD7731E01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97368-9517-4503-9A2D-81C10560C46D}" type="datetimeFigureOut">
              <a:rPr lang="en-IN" smtClean="0"/>
              <a:t>02-04-2025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6D835D-7242-0A8F-558D-566E8056B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F3028CF-5F14-E983-0E1E-7D95EDC26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04A2AA-2D05-4D47-AB6C-4470086E3DC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629037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FBA3B4-69E1-2EFA-8477-9A36907F2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0F5DBF-D1E9-589F-BD8A-E46C1AFDDD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97368-9517-4503-9A2D-81C10560C46D}" type="datetimeFigureOut">
              <a:rPr lang="en-IN" smtClean="0"/>
              <a:t>02-04-2025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3360CD-5A23-E5EE-F8CD-AC9261741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D67563-8015-DB9B-20C0-F648E7944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04A2AA-2D05-4D47-AB6C-4470086E3DC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295095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2DAA4C-3355-3F14-66A9-C5BDE11E9D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97368-9517-4503-9A2D-81C10560C46D}" type="datetimeFigureOut">
              <a:rPr lang="en-IN" smtClean="0"/>
              <a:t>02-04-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DE89DB4-238A-D846-F339-1E04A4574E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B1D262-6285-BBA2-2FAC-3DB99909F0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04A2AA-2D05-4D47-AB6C-4470086E3DC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457142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8E1D9-468A-0CD3-2F14-CB012A17C8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C66CD9-29BC-0ED7-8529-03ECFDF9B6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DCDB59-BF04-E3F5-D338-89D6F669E9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29FB45-C5FF-7DF2-397F-29D5A1D172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97368-9517-4503-9A2D-81C10560C46D}" type="datetimeFigureOut">
              <a:rPr lang="en-IN" smtClean="0"/>
              <a:t>02-04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130E05-BDEB-2D04-3145-5EE22A08EA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5ED680-89E8-F2C9-B7A1-9F777BDFF5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04A2AA-2D05-4D47-AB6C-4470086E3DC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892626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6BDC80-301D-BF36-183A-536D29492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224BB75-6E0F-61B2-1F6B-A2A9CBF229A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7EE502-39B0-662A-F0C4-B020DA5867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4E1F3E-9647-986B-291C-7B93671E4C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97368-9517-4503-9A2D-81C10560C46D}" type="datetimeFigureOut">
              <a:rPr lang="en-IN" smtClean="0"/>
              <a:t>02-04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0A1239B-C71D-145A-9D3E-86CD6B1571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453808-F7D4-9B0D-57A3-4828CB284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04A2AA-2D05-4D47-AB6C-4470086E3DC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390935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55C10E-00DB-D300-914E-B2732BD21D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4DD526-5BB8-13C7-65BF-48E88427C8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D1CC06-05A0-21AA-93CC-5E00FEC9E6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E297368-9517-4503-9A2D-81C10560C46D}" type="datetimeFigureOut">
              <a:rPr lang="en-IN" smtClean="0"/>
              <a:t>02-04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194E44-DAA6-1A62-A7CD-36E35C70B3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A85F88-44EB-D37B-8C5F-2357F7E483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B04A2AA-2D05-4D47-AB6C-4470086E3DC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48423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5.jp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lcdn.apache.org/jmeter/binaries/apache-jmeter-5.6.3.zip" TargetMode="External"/><Relationship Id="rId2" Type="http://schemas.openxmlformats.org/officeDocument/2006/relationships/hyperlink" Target="https://javadl.oracle.com/webapps/download/AutoDL?BundleId=251656_7ed26d28139143f38c58992680c214a5" TargetMode="Externa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313EA9-159A-4AD7-9FEA-825643FAC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1763" y="2808501"/>
            <a:ext cx="5956916" cy="1219286"/>
          </a:xfrm>
        </p:spPr>
        <p:txBody>
          <a:bodyPr>
            <a:normAutofit/>
          </a:bodyPr>
          <a:lstStyle/>
          <a:p>
            <a:pPr algn="ctr"/>
            <a:br>
              <a:rPr lang="en-US" sz="4000" dirty="0"/>
            </a:br>
            <a:r>
              <a:rPr lang="en-US" sz="4000" dirty="0"/>
              <a:t>Load testing </a:t>
            </a:r>
            <a:r>
              <a:rPr lang="en-US" sz="4000"/>
              <a:t>- JMeter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31505634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B8E15A2-39B2-4A11-806D-ECC14E8CC4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B8E15A2-39B2-4A11-806D-ECC14E8CC4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F3D7747-FC37-466C-BE98-EF8CFC8C4A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Black" panose="020B0A02040204020203" pitchFamily="34" charset="0"/>
              <a:ea typeface="+mn-ea"/>
              <a:cs typeface="Arial" panose="020B0604020202020204" pitchFamily="34" charset="0"/>
              <a:sym typeface="Segoe UI Black" panose="020B0A02040204020203" pitchFamily="34" charset="0"/>
            </a:endParaRPr>
          </a:p>
        </p:txBody>
      </p:sp>
      <p:pic>
        <p:nvPicPr>
          <p:cNvPr id="27" name="Picture Placeholder 26" descr="A person standing in front of a window&#10;&#10;Description automatically generated">
            <a:extLst>
              <a:ext uri="{FF2B5EF4-FFF2-40B4-BE49-F238E27FC236}">
                <a16:creationId xmlns:a16="http://schemas.microsoft.com/office/drawing/2014/main" id="{D511AD64-3588-4574-ACDA-5EB4C44615A7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7"/>
          <a:srcRect t="104" b="104"/>
          <a:stretch>
            <a:fillRect/>
          </a:stretch>
        </p:blipFill>
        <p:spPr/>
      </p:pic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2D215B85-3F0E-4321-958C-1F585EE6137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EEF4128-4C15-4AA1-B41D-1C327A884A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01110" y="2617075"/>
            <a:ext cx="5100676" cy="2215991"/>
          </a:xfrm>
        </p:spPr>
        <p:txBody>
          <a:bodyPr>
            <a:normAutofit lnSpcReduction="10000"/>
          </a:bodyPr>
          <a:lstStyle/>
          <a:p>
            <a:pPr>
              <a:lnSpc>
                <a:spcPct val="100000"/>
              </a:lnSpc>
            </a:pPr>
            <a:r>
              <a:rPr lang="en-US" sz="2400" dirty="0">
                <a:solidFill>
                  <a:schemeClr val="accent1"/>
                </a:solidFill>
              </a:rPr>
              <a:t>We exist to improve our customers’ business and the community around us. Our brand is synonymous with delivery excellence, dependability, and an employment destination for people that love solving problems.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1475AC6C-CB11-42D1-9089-1CC0C0C443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Statement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905C9919-FC10-4F1D-939E-87A7CE7275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117562F-7164-4807-9B6B-FA6D089E2DA9}"/>
              </a:ext>
            </a:extLst>
          </p:cNvPr>
          <p:cNvGrpSpPr/>
          <p:nvPr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45" name="Oval 503">
              <a:extLst>
                <a:ext uri="{FF2B5EF4-FFF2-40B4-BE49-F238E27FC236}">
                  <a16:creationId xmlns:a16="http://schemas.microsoft.com/office/drawing/2014/main" id="{C15390E3-0763-4FCF-B332-54AAE517265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" name="Freeform 504">
              <a:extLst>
                <a:ext uri="{FF2B5EF4-FFF2-40B4-BE49-F238E27FC236}">
                  <a16:creationId xmlns:a16="http://schemas.microsoft.com/office/drawing/2014/main" id="{7CC581C3-0473-4CCC-923E-C98D79B40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Oval 505">
              <a:extLst>
                <a:ext uri="{FF2B5EF4-FFF2-40B4-BE49-F238E27FC236}">
                  <a16:creationId xmlns:a16="http://schemas.microsoft.com/office/drawing/2014/main" id="{656B6ADC-2675-457E-94E0-0FA65343D25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Freeform 506">
              <a:extLst>
                <a:ext uri="{FF2B5EF4-FFF2-40B4-BE49-F238E27FC236}">
                  <a16:creationId xmlns:a16="http://schemas.microsoft.com/office/drawing/2014/main" id="{D83B2126-E155-451E-A1FD-6C10E71CD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5186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C43EA2-4932-8D93-0D77-C3410D852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29154320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41242B-B419-1957-3D25-5B48BC2F6F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F12124-1BDD-7880-C2B7-4118DB0A1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/>
              <a:t>Load Testing Using JMeter</a:t>
            </a:r>
            <a:endParaRPr lang="en-IN" u="sng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A114CB-C211-1A28-9181-773ACB369B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6753" y="1268414"/>
            <a:ext cx="10339200" cy="4124206"/>
          </a:xfrm>
        </p:spPr>
        <p:txBody>
          <a:bodyPr>
            <a:normAutofit lnSpcReduction="10000"/>
          </a:bodyPr>
          <a:lstStyle/>
          <a:p>
            <a:pPr marL="171450" indent="-1714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/>
              <a:t>Open-source tool for performance testing and load testing.</a:t>
            </a:r>
          </a:p>
          <a:p>
            <a:pPr marL="171450" indent="-1714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/>
              <a:t>Why Use JMeter for Load Testing?</a:t>
            </a:r>
          </a:p>
          <a:p>
            <a:pPr marL="171450" indent="-1714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IN" sz="1600" dirty="0"/>
              <a:t>Key Features of JMeter:</a:t>
            </a:r>
          </a:p>
          <a:p>
            <a:pPr>
              <a:lnSpc>
                <a:spcPct val="100000"/>
              </a:lnSpc>
            </a:pPr>
            <a:r>
              <a:rPr lang="en-IN" sz="1600" dirty="0"/>
              <a:t>Test Plan Composition: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IN" sz="1600" dirty="0"/>
              <a:t>Thread Groups: Simulates concurrent users.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IN" sz="1600" dirty="0"/>
              <a:t>Samplers: Sends requests to servers (HTTP, JDBC, FTP, etc.).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IN" sz="1600" dirty="0"/>
              <a:t>Listeners: Captures and displays test results.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IN" sz="1600" dirty="0"/>
              <a:t>Metrics to monitor:  Response time , Throughput and Error rate</a:t>
            </a:r>
          </a:p>
        </p:txBody>
      </p:sp>
    </p:spTree>
    <p:extLst>
      <p:ext uri="{BB962C8B-B14F-4D97-AF65-F5344CB8AC3E}">
        <p14:creationId xmlns:p14="http://schemas.microsoft.com/office/powerpoint/2010/main" val="7273056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26133B-8970-5E96-DC5B-C407CF14CC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u="sng" dirty="0"/>
              <a:t>Setting UP JMeter</a:t>
            </a:r>
            <a:endParaRPr lang="en-IN" u="sng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CA2792-4E11-625B-3473-FB5F5E07FE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800" dirty="0">
                <a:solidFill>
                  <a:schemeClr val="tx1"/>
                </a:solidFill>
                <a:latin typeface="+mj-lt"/>
              </a:rPr>
              <a:t>Install Java : </a:t>
            </a:r>
            <a:r>
              <a:rPr lang="en-IN" sz="1800" b="0" i="0" u="none" strike="noStrike" dirty="0">
                <a:solidFill>
                  <a:schemeClr val="tx1"/>
                </a:solidFill>
                <a:effectLst/>
                <a:latin typeface="+mj-lt"/>
                <a:hlinkClick r:id="rId2" tooltip="Download Java software for Windows (64-bit)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ndows Offline (64-bit)</a:t>
            </a:r>
            <a:endParaRPr lang="en-IN" sz="1800" b="0" i="0" u="none" strike="noStrike" dirty="0">
              <a:solidFill>
                <a:schemeClr val="tx1"/>
              </a:solidFill>
              <a:effectLst/>
              <a:latin typeface="+mj-lt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800" dirty="0">
                <a:solidFill>
                  <a:schemeClr val="tx1"/>
                </a:solidFill>
                <a:latin typeface="+mj-lt"/>
              </a:rPr>
              <a:t>Install JMeter : </a:t>
            </a:r>
            <a:r>
              <a:rPr lang="en-IN" sz="1800" dirty="0">
                <a:solidFill>
                  <a:schemeClr val="tx1"/>
                </a:solidFill>
                <a:effectLst/>
                <a:latin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ache-jmeter-5.6.3.zip</a:t>
            </a:r>
            <a:endParaRPr lang="en-IN" sz="1800" dirty="0">
              <a:solidFill>
                <a:schemeClr val="tx1"/>
              </a:solidFill>
              <a:effectLst/>
              <a:latin typeface="+mj-lt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800" dirty="0">
                <a:solidFill>
                  <a:schemeClr val="tx1"/>
                </a:solidFill>
                <a:latin typeface="+mj-lt"/>
              </a:rPr>
              <a:t>Verify JMeter Installation : Launch JMeter , Navigate to the bin </a:t>
            </a:r>
            <a:r>
              <a:rPr lang="en-US" sz="1800" dirty="0">
                <a:solidFill>
                  <a:schemeClr val="tx1"/>
                </a:solidFill>
                <a:latin typeface="+mj-lt"/>
              </a:rPr>
              <a:t>directory inside the extracted folder and run jmeter.bat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IN" sz="1800" dirty="0">
              <a:solidFill>
                <a:schemeClr val="tx1"/>
              </a:solidFill>
              <a:latin typeface="+mj-lt"/>
            </a:endParaRPr>
          </a:p>
          <a:p>
            <a:endParaRPr lang="en-IN" dirty="0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476C3A42-4417-BF09-4D16-A7ABF4E2A2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200" y="381793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64239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FE712F-8364-98BD-7105-6086DFD98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u="sng" dirty="0"/>
              <a:t>Running  JMeter in non-GUI (CLI)</a:t>
            </a:r>
            <a:endParaRPr lang="en-IN" u="sng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F3219A-A35A-A49C-7D21-D2F7B2A308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59972" y="2207017"/>
            <a:ext cx="10339200" cy="855672"/>
          </a:xfrm>
          <a:solidFill>
            <a:schemeClr val="bg2">
              <a:lumMod val="75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pt-BR" sz="2800" dirty="0">
                <a:latin typeface="+mj-lt"/>
              </a:rPr>
              <a:t>jmeter -n -t  Your_Test_Plan.jmx -l results.csv -e -o report</a:t>
            </a:r>
            <a:endParaRPr lang="en-IN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170446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62E0A6-21A1-525B-8BF4-17B58E11B3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13AF1B-564D-FC29-AEC5-9C5404852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0" y="3131932"/>
            <a:ext cx="4572000" cy="594137"/>
          </a:xfrm>
        </p:spPr>
        <p:txBody>
          <a:bodyPr/>
          <a:lstStyle/>
          <a:p>
            <a:r>
              <a:rPr lang="en-IN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19372212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82EE23-255A-46B4-B54C-ADF6EEED4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6365127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iXfiToRg29neM2RRj8Z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67</TotalTime>
  <Words>185</Words>
  <Application>Microsoft Office PowerPoint</Application>
  <PresentationFormat>Widescreen</PresentationFormat>
  <Paragraphs>23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ptos</vt:lpstr>
      <vt:lpstr>Aptos Display</vt:lpstr>
      <vt:lpstr>Arial</vt:lpstr>
      <vt:lpstr>Calibri</vt:lpstr>
      <vt:lpstr>Segoe UI</vt:lpstr>
      <vt:lpstr>Segoe UI Black</vt:lpstr>
      <vt:lpstr>Wingdings</vt:lpstr>
      <vt:lpstr>Office Theme</vt:lpstr>
      <vt:lpstr>think-cell Slide</vt:lpstr>
      <vt:lpstr> Load testing - JMeter</vt:lpstr>
      <vt:lpstr>Mission Statement</vt:lpstr>
      <vt:lpstr>Introduction</vt:lpstr>
      <vt:lpstr>Load Testing Using JMeter</vt:lpstr>
      <vt:lpstr>Setting UP JMeter</vt:lpstr>
      <vt:lpstr>Running  JMeter in non-GUI (CLI)</vt:lpstr>
      <vt:lpstr>Demo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hada Najeeb</dc:creator>
  <cp:lastModifiedBy>Shada Najeeb</cp:lastModifiedBy>
  <cp:revision>5</cp:revision>
  <dcterms:created xsi:type="dcterms:W3CDTF">2025-04-01T06:05:29Z</dcterms:created>
  <dcterms:modified xsi:type="dcterms:W3CDTF">2025-04-04T04:47:38Z</dcterms:modified>
</cp:coreProperties>
</file>